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diagrams/quickStyle17.xml" ContentType="application/vnd.openxmlformats-officedocument.drawingml.diagram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17.xml" ContentType="application/vnd.openxmlformats-officedocument.drawingml.diagram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notesSlides/notesSlide15.xml" ContentType="application/vnd.openxmlformats-officedocument.presentationml.notesSlide+xml"/>
  <Override PartName="/ppt/diagrams/drawing17.xml" ContentType="application/vnd.ms-office.drawingml.diagramDrawing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9"/>
  </p:notesMasterIdLst>
  <p:handoutMasterIdLst>
    <p:handoutMasterId r:id="rId20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  <p:sldId id="342" r:id="rId18"/>
  </p:sldIdLst>
  <p:sldSz cx="9144000" cy="5143500" type="screen16x9"/>
  <p:notesSz cx="7099300" cy="10234613"/>
  <p:custDataLst>
    <p:tags r:id="rId2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ata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_rels/drawing17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7ED5C16-0781-4F90-9803-7779A8077E04}" type="presOf" srcId="{9C869D94-BD20-4CF6-9CAA-58E706B950F6}" destId="{0AECE453-CE2A-473C-BD27-70D00DA5B95C}" srcOrd="0" destOrd="0" presId="urn:microsoft.com/office/officeart/2005/8/layout/chevron1"/>
    <dgm:cxn modelId="{72625C1D-619F-45A4-BBDC-8E85DD6C091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619D8B4-1713-4594-8A2A-5F50836EA6F9}" type="presOf" srcId="{EB61DA86-9B86-4759-822E-DA32F7AA073E}" destId="{135DB1F4-89C2-4733-9521-42FD5CECF10C}" srcOrd="0" destOrd="0" presId="urn:microsoft.com/office/officeart/2005/8/layout/chevron1"/>
    <dgm:cxn modelId="{5E7A61E8-AA57-4F92-A369-CA17F912A0B8}" type="presOf" srcId="{F351D095-D2C1-4F62-A18D-EFB4BA6E2AA9}" destId="{6BF66C9A-92D4-481D-A538-FD1A4E3DC0D5}" srcOrd="0" destOrd="0" presId="urn:microsoft.com/office/officeart/2005/8/layout/chevron1"/>
    <dgm:cxn modelId="{747485F1-B26A-4099-BCA0-1D8AC9593202}" type="presParOf" srcId="{0AECE453-CE2A-473C-BD27-70D00DA5B95C}" destId="{135DB1F4-89C2-4733-9521-42FD5CECF10C}" srcOrd="0" destOrd="0" presId="urn:microsoft.com/office/officeart/2005/8/layout/chevron1"/>
    <dgm:cxn modelId="{82B29D01-F2FC-46A4-80FA-7A30BEF9FF5C}" type="presParOf" srcId="{0AECE453-CE2A-473C-BD27-70D00DA5B95C}" destId="{E1C76734-9ABE-473C-AD4C-C4BF49F91E97}" srcOrd="1" destOrd="0" presId="urn:microsoft.com/office/officeart/2005/8/layout/chevron1"/>
    <dgm:cxn modelId="{01C1C2ED-72B0-4CD3-9A1B-B541749BF6E5}" type="presParOf" srcId="{0AECE453-CE2A-473C-BD27-70D00DA5B95C}" destId="{6BF66C9A-92D4-481D-A538-FD1A4E3DC0D5}" srcOrd="2" destOrd="0" presId="urn:microsoft.com/office/officeart/2005/8/layout/chevron1"/>
    <dgm:cxn modelId="{22EE3BCD-9286-4E1C-A9D1-6C5E631DAE17}" type="presParOf" srcId="{0AECE453-CE2A-473C-BD27-70D00DA5B95C}" destId="{691CB221-7DD5-49BE-AC21-301798066F30}" srcOrd="3" destOrd="0" presId="urn:microsoft.com/office/officeart/2005/8/layout/chevron1"/>
    <dgm:cxn modelId="{B194FC28-FEE0-4D5F-83F8-45CF30BE6D15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200" b="1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dirty="0">
            <a:latin typeface="Arial" pitchFamily="34" charset="0"/>
            <a:cs typeface="Arial" pitchFamily="34" charset="0"/>
          </a:endParaRPr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9E611F-C6B4-4993-BFDF-BF2C50A307F5}" type="presOf" srcId="{D14807FD-294C-4482-91EE-34C09B13669A}" destId="{BCE275B7-D1E9-4183-BABE-507E54E1C931}" srcOrd="0" destOrd="0" presId="urn:microsoft.com/office/officeart/2005/8/layout/chevron1"/>
    <dgm:cxn modelId="{548E0D96-6906-4513-B6C3-1226FEFB4FE0}" type="presOf" srcId="{F351D095-D2C1-4F62-A18D-EFB4BA6E2AA9}" destId="{6BF66C9A-92D4-481D-A538-FD1A4E3DC0D5}" srcOrd="0" destOrd="0" presId="urn:microsoft.com/office/officeart/2005/8/layout/chevron1"/>
    <dgm:cxn modelId="{CD552879-7A6D-4988-AFAD-90BC9E8D0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439EA419-0328-4E61-AA67-575191DA9DCE}" type="presOf" srcId="{EB61DA86-9B86-4759-822E-DA32F7AA073E}" destId="{135DB1F4-89C2-4733-9521-42FD5CECF10C}" srcOrd="0" destOrd="0" presId="urn:microsoft.com/office/officeart/2005/8/layout/chevron1"/>
    <dgm:cxn modelId="{75A56AA4-2B58-456C-859F-220D054AADE4}" type="presParOf" srcId="{0AECE453-CE2A-473C-BD27-70D00DA5B95C}" destId="{135DB1F4-89C2-4733-9521-42FD5CECF10C}" srcOrd="0" destOrd="0" presId="urn:microsoft.com/office/officeart/2005/8/layout/chevron1"/>
    <dgm:cxn modelId="{C0C4FE19-E0A0-4B5F-A07A-E7DB379FEB34}" type="presParOf" srcId="{0AECE453-CE2A-473C-BD27-70D00DA5B95C}" destId="{E1C76734-9ABE-473C-AD4C-C4BF49F91E97}" srcOrd="1" destOrd="0" presId="urn:microsoft.com/office/officeart/2005/8/layout/chevron1"/>
    <dgm:cxn modelId="{175BD0C9-1FBB-4EDD-9782-A3732CB6ACAD}" type="presParOf" srcId="{0AECE453-CE2A-473C-BD27-70D00DA5B95C}" destId="{6BF66C9A-92D4-481D-A538-FD1A4E3DC0D5}" srcOrd="2" destOrd="0" presId="urn:microsoft.com/office/officeart/2005/8/layout/chevron1"/>
    <dgm:cxn modelId="{C2F8B8B2-C245-4D78-9E68-6EE4DA8C9D79}" type="presParOf" srcId="{0AECE453-CE2A-473C-BD27-70D00DA5B95C}" destId="{691CB221-7DD5-49BE-AC21-301798066F30}" srcOrd="3" destOrd="0" presId="urn:microsoft.com/office/officeart/2005/8/layout/chevron1"/>
    <dgm:cxn modelId="{C9032670-3B88-4141-B3F5-0995335709F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967A73-5475-4111-BAF0-3BA756CCABFD}" type="presOf" srcId="{D14807FD-294C-4482-91EE-34C09B13669A}" destId="{BCE275B7-D1E9-4183-BABE-507E54E1C931}" srcOrd="0" destOrd="0" presId="urn:microsoft.com/office/officeart/2005/8/layout/chevron1"/>
    <dgm:cxn modelId="{9BA9DA24-0DF4-4C22-9001-8C555A25BDD0}" type="presOf" srcId="{F351D095-D2C1-4F62-A18D-EFB4BA6E2AA9}" destId="{6BF66C9A-92D4-481D-A538-FD1A4E3DC0D5}" srcOrd="0" destOrd="0" presId="urn:microsoft.com/office/officeart/2005/8/layout/chevron1"/>
    <dgm:cxn modelId="{E2743FD6-9E2E-4227-8EA8-ED8933234ED7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52AA5A2-6D1F-4F6C-8230-1B1DAC5D8798}" type="presOf" srcId="{9C869D94-BD20-4CF6-9CAA-58E706B950F6}" destId="{0AECE453-CE2A-473C-BD27-70D00DA5B95C}" srcOrd="0" destOrd="0" presId="urn:microsoft.com/office/officeart/2005/8/layout/chevron1"/>
    <dgm:cxn modelId="{10B9C396-8C8F-4798-A4D3-9EB47A1D2AD3}" type="presParOf" srcId="{0AECE453-CE2A-473C-BD27-70D00DA5B95C}" destId="{135DB1F4-89C2-4733-9521-42FD5CECF10C}" srcOrd="0" destOrd="0" presId="urn:microsoft.com/office/officeart/2005/8/layout/chevron1"/>
    <dgm:cxn modelId="{8D8EF9F3-522C-4013-B04C-E036708D4008}" type="presParOf" srcId="{0AECE453-CE2A-473C-BD27-70D00DA5B95C}" destId="{E1C76734-9ABE-473C-AD4C-C4BF49F91E97}" srcOrd="1" destOrd="0" presId="urn:microsoft.com/office/officeart/2005/8/layout/chevron1"/>
    <dgm:cxn modelId="{BE454BA5-88E2-452C-8EFD-4DD7FE5BC513}" type="presParOf" srcId="{0AECE453-CE2A-473C-BD27-70D00DA5B95C}" destId="{6BF66C9A-92D4-481D-A538-FD1A4E3DC0D5}" srcOrd="2" destOrd="0" presId="urn:microsoft.com/office/officeart/2005/8/layout/chevron1"/>
    <dgm:cxn modelId="{65BD160E-AB91-42B2-8469-5C0614E51BF0}" type="presParOf" srcId="{0AECE453-CE2A-473C-BD27-70D00DA5B95C}" destId="{691CB221-7DD5-49BE-AC21-301798066F30}" srcOrd="3" destOrd="0" presId="urn:microsoft.com/office/officeart/2005/8/layout/chevron1"/>
    <dgm:cxn modelId="{2C191F2D-41F5-4285-A433-4F942E43207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A0BE235-7F30-45E6-8652-1DF06B99A8F4}" type="presOf" srcId="{D14807FD-294C-4482-91EE-34C09B13669A}" destId="{BCE275B7-D1E9-4183-BABE-507E54E1C931}" srcOrd="0" destOrd="0" presId="urn:microsoft.com/office/officeart/2005/8/layout/chevron1"/>
    <dgm:cxn modelId="{27A3E0F2-0C78-48FC-B3C8-9BC26E24C3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0477DC-03B9-46A7-87D6-55931B87CFE2}" type="presOf" srcId="{9C869D94-BD20-4CF6-9CAA-58E706B950F6}" destId="{0AECE453-CE2A-473C-BD27-70D00DA5B95C}" srcOrd="0" destOrd="0" presId="urn:microsoft.com/office/officeart/2005/8/layout/chevron1"/>
    <dgm:cxn modelId="{F7B503CA-A6BC-4E72-9C25-B7A2FFD91D87}" type="presOf" srcId="{EB61DA86-9B86-4759-822E-DA32F7AA073E}" destId="{135DB1F4-89C2-4733-9521-42FD5CECF10C}" srcOrd="0" destOrd="0" presId="urn:microsoft.com/office/officeart/2005/8/layout/chevron1"/>
    <dgm:cxn modelId="{A69D111C-1A30-4F3A-BEC2-FC315654328C}" type="presParOf" srcId="{0AECE453-CE2A-473C-BD27-70D00DA5B95C}" destId="{135DB1F4-89C2-4733-9521-42FD5CECF10C}" srcOrd="0" destOrd="0" presId="urn:microsoft.com/office/officeart/2005/8/layout/chevron1"/>
    <dgm:cxn modelId="{4397E1C8-C5FE-481F-A565-537553CF9524}" type="presParOf" srcId="{0AECE453-CE2A-473C-BD27-70D00DA5B95C}" destId="{E1C76734-9ABE-473C-AD4C-C4BF49F91E97}" srcOrd="1" destOrd="0" presId="urn:microsoft.com/office/officeart/2005/8/layout/chevron1"/>
    <dgm:cxn modelId="{66282758-104C-4BBF-A802-6F91DC4458FD}" type="presParOf" srcId="{0AECE453-CE2A-473C-BD27-70D00DA5B95C}" destId="{6BF66C9A-92D4-481D-A538-FD1A4E3DC0D5}" srcOrd="2" destOrd="0" presId="urn:microsoft.com/office/officeart/2005/8/layout/chevron1"/>
    <dgm:cxn modelId="{D5B10A11-D301-46C1-8179-283D0986C7B4}" type="presParOf" srcId="{0AECE453-CE2A-473C-BD27-70D00DA5B95C}" destId="{691CB221-7DD5-49BE-AC21-301798066F30}" srcOrd="3" destOrd="0" presId="urn:microsoft.com/office/officeart/2005/8/layout/chevron1"/>
    <dgm:cxn modelId="{13CC8E01-9EB8-4047-9625-2E81AB11D0E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341435F7-DA9D-437B-ABFF-C1D49D9F41B7}" type="presOf" srcId="{D889D4D7-F148-4EB9-8DF4-D99F17156C31}" destId="{B5F7D992-9FE3-46DC-88AB-F9FB4EEDF815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E67AA3D3-A6C9-49CE-9E78-355A572FCA3B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2A1B7113-728E-4464-88CF-5286A10C0CB5}" type="presOf" srcId="{920232FB-D65A-4EF7-9D25-565535D2B7DA}" destId="{AD7FD66F-97B2-4B51-A238-AF9A0EDCE041}" srcOrd="0" destOrd="0" presId="urn:microsoft.com/office/officeart/2005/8/layout/pList2"/>
    <dgm:cxn modelId="{99752345-4BA4-4D49-84C8-B826FCCC5079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1E6D01E8-3920-4609-81C5-38B93F6F1A84}" type="presOf" srcId="{6A4CEAD5-33C1-4B18-8EF3-40747A51DB1B}" destId="{10125C33-0F99-4D6A-8CE0-8E8E4B951029}" srcOrd="0" destOrd="0" presId="urn:microsoft.com/office/officeart/2005/8/layout/pList2"/>
    <dgm:cxn modelId="{15716B6E-A52E-4B65-B048-78B8E771BAB6}" type="presOf" srcId="{969C8280-CA1C-4316-8298-8C6DDAB11571}" destId="{E3198BAB-B9C6-4C60-A044-A2B387319D04}" srcOrd="0" destOrd="0" presId="urn:microsoft.com/office/officeart/2005/8/layout/pList2"/>
    <dgm:cxn modelId="{A845314E-DDBD-42D2-8292-D6F9C0B66AF2}" type="presOf" srcId="{A535AB3D-88CF-41BD-9478-1370676E8F79}" destId="{F3EAAE23-5CEE-4B31-8556-F61B9D1B2B74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250C0248-8881-4361-992A-850ED3477DE7}" type="presOf" srcId="{57AC4395-4130-4197-B98E-5BE6C2999B44}" destId="{57ED5118-1790-45B2-817F-82A6638E60D2}" srcOrd="0" destOrd="0" presId="urn:microsoft.com/office/officeart/2005/8/layout/pList2"/>
    <dgm:cxn modelId="{F1D8AB22-41AF-42EB-80F8-C452E2BCF107}" type="presParOf" srcId="{57ED5118-1790-45B2-817F-82A6638E60D2}" destId="{7EBEFCAF-EAB3-44B0-8F9A-87E8C01D6452}" srcOrd="0" destOrd="0" presId="urn:microsoft.com/office/officeart/2005/8/layout/pList2"/>
    <dgm:cxn modelId="{F0AA021C-0745-41B9-AE13-F31D4298A657}" type="presParOf" srcId="{57ED5118-1790-45B2-817F-82A6638E60D2}" destId="{53E74AF1-94FD-412C-BB5A-D4B972D2C4D7}" srcOrd="1" destOrd="0" presId="urn:microsoft.com/office/officeart/2005/8/layout/pList2"/>
    <dgm:cxn modelId="{0D248FD1-5D0C-491B-A272-3C12026AA5D5}" type="presParOf" srcId="{53E74AF1-94FD-412C-BB5A-D4B972D2C4D7}" destId="{8D51302C-F1F5-4217-846D-256B0BEA32B0}" srcOrd="0" destOrd="0" presId="urn:microsoft.com/office/officeart/2005/8/layout/pList2"/>
    <dgm:cxn modelId="{787FA4F1-ACBA-4342-8545-ECCCF4A1CC88}" type="presParOf" srcId="{8D51302C-F1F5-4217-846D-256B0BEA32B0}" destId="{E3198BAB-B9C6-4C60-A044-A2B387319D04}" srcOrd="0" destOrd="0" presId="urn:microsoft.com/office/officeart/2005/8/layout/pList2"/>
    <dgm:cxn modelId="{B5DE8B62-0EC6-4F9E-AF68-220D9C5E9F85}" type="presParOf" srcId="{8D51302C-F1F5-4217-846D-256B0BEA32B0}" destId="{7FBFB193-C70D-4A4B-B4FD-BBADFA80264D}" srcOrd="1" destOrd="0" presId="urn:microsoft.com/office/officeart/2005/8/layout/pList2"/>
    <dgm:cxn modelId="{84E5F8DF-1DAB-4CB3-9D6B-DE0A38622B34}" type="presParOf" srcId="{8D51302C-F1F5-4217-846D-256B0BEA32B0}" destId="{63C34CD1-54D0-4CA7-BB0E-16F028C8DA3A}" srcOrd="2" destOrd="0" presId="urn:microsoft.com/office/officeart/2005/8/layout/pList2"/>
    <dgm:cxn modelId="{E1CD1114-5B2B-4AC2-8491-26B467881526}" type="presParOf" srcId="{53E74AF1-94FD-412C-BB5A-D4B972D2C4D7}" destId="{AD7FD66F-97B2-4B51-A238-AF9A0EDCE041}" srcOrd="1" destOrd="0" presId="urn:microsoft.com/office/officeart/2005/8/layout/pList2"/>
    <dgm:cxn modelId="{EE106A6B-5828-44DC-9B4F-7FFD7291A2F0}" type="presParOf" srcId="{53E74AF1-94FD-412C-BB5A-D4B972D2C4D7}" destId="{9C4F6DD4-523F-4F88-A650-1200F5AC438C}" srcOrd="2" destOrd="0" presId="urn:microsoft.com/office/officeart/2005/8/layout/pList2"/>
    <dgm:cxn modelId="{ACC718F3-50F8-4109-9DBF-0696DACDE81C}" type="presParOf" srcId="{9C4F6DD4-523F-4F88-A650-1200F5AC438C}" destId="{7BF23177-841A-4D1D-855E-251E8943525E}" srcOrd="0" destOrd="0" presId="urn:microsoft.com/office/officeart/2005/8/layout/pList2"/>
    <dgm:cxn modelId="{6C3E441C-BBEB-4F47-B8D1-C9FFFE7F7E9A}" type="presParOf" srcId="{9C4F6DD4-523F-4F88-A650-1200F5AC438C}" destId="{ED19007D-6494-4F10-8675-353F3CDFBEC4}" srcOrd="1" destOrd="0" presId="urn:microsoft.com/office/officeart/2005/8/layout/pList2"/>
    <dgm:cxn modelId="{AD7791EB-FABB-4AA2-A92F-B18203D7B087}" type="presParOf" srcId="{9C4F6DD4-523F-4F88-A650-1200F5AC438C}" destId="{D3FD648B-60E4-4029-9DA6-BE2B4D2B4CBF}" srcOrd="2" destOrd="0" presId="urn:microsoft.com/office/officeart/2005/8/layout/pList2"/>
    <dgm:cxn modelId="{09FEB971-BEDE-477D-9FE1-ECABF2FF9665}" type="presParOf" srcId="{53E74AF1-94FD-412C-BB5A-D4B972D2C4D7}" destId="{B5F7D992-9FE3-46DC-88AB-F9FB4EEDF815}" srcOrd="3" destOrd="0" presId="urn:microsoft.com/office/officeart/2005/8/layout/pList2"/>
    <dgm:cxn modelId="{8071B9EC-35FC-41DA-8B45-908390D9D6F8}" type="presParOf" srcId="{53E74AF1-94FD-412C-BB5A-D4B972D2C4D7}" destId="{ABBBC5E0-5AE2-4A45-9F0B-A6FB5071F795}" srcOrd="4" destOrd="0" presId="urn:microsoft.com/office/officeart/2005/8/layout/pList2"/>
    <dgm:cxn modelId="{4745B939-651E-4DFE-9BCF-2991B5C73FFC}" type="presParOf" srcId="{ABBBC5E0-5AE2-4A45-9F0B-A6FB5071F795}" destId="{C8B8A4A8-AC36-4440-ABC0-A80F7A3FC7A9}" srcOrd="0" destOrd="0" presId="urn:microsoft.com/office/officeart/2005/8/layout/pList2"/>
    <dgm:cxn modelId="{D9089AF0-1082-48D8-B544-E1FDD02741BC}" type="presParOf" srcId="{ABBBC5E0-5AE2-4A45-9F0B-A6FB5071F795}" destId="{9716FF06-87E2-4961-82EE-50D39560AFCA}" srcOrd="1" destOrd="0" presId="urn:microsoft.com/office/officeart/2005/8/layout/pList2"/>
    <dgm:cxn modelId="{010992B0-A4DD-4527-8CF7-E5CC86727732}" type="presParOf" srcId="{ABBBC5E0-5AE2-4A45-9F0B-A6FB5071F795}" destId="{A6AC8A74-F87C-4B02-9448-DDBB12841FDC}" srcOrd="2" destOrd="0" presId="urn:microsoft.com/office/officeart/2005/8/layout/pList2"/>
    <dgm:cxn modelId="{5A1FB093-2B4A-4781-9A52-1BD58EEBFFFC}" type="presParOf" srcId="{53E74AF1-94FD-412C-BB5A-D4B972D2C4D7}" destId="{10125C33-0F99-4D6A-8CE0-8E8E4B951029}" srcOrd="5" destOrd="0" presId="urn:microsoft.com/office/officeart/2005/8/layout/pList2"/>
    <dgm:cxn modelId="{CA13DEE3-5474-463C-9F59-609171C9889E}" type="presParOf" srcId="{53E74AF1-94FD-412C-BB5A-D4B972D2C4D7}" destId="{403CD47D-6636-491B-AF96-CADA11F2DB13}" srcOrd="6" destOrd="0" presId="urn:microsoft.com/office/officeart/2005/8/layout/pList2"/>
    <dgm:cxn modelId="{0D6C3B44-2848-4EB7-999B-1A51B0184732}" type="presParOf" srcId="{403CD47D-6636-491B-AF96-CADA11F2DB13}" destId="{F3EAAE23-5CEE-4B31-8556-F61B9D1B2B74}" srcOrd="0" destOrd="0" presId="urn:microsoft.com/office/officeart/2005/8/layout/pList2"/>
    <dgm:cxn modelId="{90D44770-486C-4653-AEB0-6435FFB52B67}" type="presParOf" srcId="{403CD47D-6636-491B-AF96-CADA11F2DB13}" destId="{3AB93904-F244-4777-B4DF-2E0D13BCFB74}" srcOrd="1" destOrd="0" presId="urn:microsoft.com/office/officeart/2005/8/layout/pList2"/>
    <dgm:cxn modelId="{B56C42AE-1C3E-4B1A-9053-5686CF1AED58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47CE7E2-26CD-4206-8668-9B1F909F77D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835C976-DC7F-4C48-8293-245385A4898C}" type="presOf" srcId="{D14807FD-294C-4482-91EE-34C09B13669A}" destId="{BCE275B7-D1E9-4183-BABE-507E54E1C931}" srcOrd="0" destOrd="0" presId="urn:microsoft.com/office/officeart/2005/8/layout/chevron1"/>
    <dgm:cxn modelId="{268C028E-3E0D-4EF6-9634-21301AFE64F7}" type="presOf" srcId="{EB61DA86-9B86-4759-822E-DA32F7AA073E}" destId="{135DB1F4-89C2-4733-9521-42FD5CECF10C}" srcOrd="0" destOrd="0" presId="urn:microsoft.com/office/officeart/2005/8/layout/chevron1"/>
    <dgm:cxn modelId="{CF2FFAE4-9190-444A-BEA4-D0B2CE207321}" type="presOf" srcId="{F351D095-D2C1-4F62-A18D-EFB4BA6E2AA9}" destId="{6BF66C9A-92D4-481D-A538-FD1A4E3DC0D5}" srcOrd="0" destOrd="0" presId="urn:microsoft.com/office/officeart/2005/8/layout/chevron1"/>
    <dgm:cxn modelId="{F806A029-C944-4BA8-9053-69F50A942711}" type="presParOf" srcId="{0AECE453-CE2A-473C-BD27-70D00DA5B95C}" destId="{135DB1F4-89C2-4733-9521-42FD5CECF10C}" srcOrd="0" destOrd="0" presId="urn:microsoft.com/office/officeart/2005/8/layout/chevron1"/>
    <dgm:cxn modelId="{227042F2-E3F9-4A41-A690-FA8F79FDC0A6}" type="presParOf" srcId="{0AECE453-CE2A-473C-BD27-70D00DA5B95C}" destId="{E1C76734-9ABE-473C-AD4C-C4BF49F91E97}" srcOrd="1" destOrd="0" presId="urn:microsoft.com/office/officeart/2005/8/layout/chevron1"/>
    <dgm:cxn modelId="{7F829D01-4104-440A-83DA-BDCAF51C099E}" type="presParOf" srcId="{0AECE453-CE2A-473C-BD27-70D00DA5B95C}" destId="{6BF66C9A-92D4-481D-A538-FD1A4E3DC0D5}" srcOrd="2" destOrd="0" presId="urn:microsoft.com/office/officeart/2005/8/layout/chevron1"/>
    <dgm:cxn modelId="{4C40B4E8-B42A-4C5B-B2D2-EDDD5571CB95}" type="presParOf" srcId="{0AECE453-CE2A-473C-BD27-70D00DA5B95C}" destId="{691CB221-7DD5-49BE-AC21-301798066F30}" srcOrd="3" destOrd="0" presId="urn:microsoft.com/office/officeart/2005/8/layout/chevron1"/>
    <dgm:cxn modelId="{4B1CA307-1919-4576-A321-0210C0649BB0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8658C0-0088-4BC9-AFE1-A002D968D6EB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8D42E33-01A8-4245-BF0A-AFCD9A1967E2}" type="presOf" srcId="{9C869D94-BD20-4CF6-9CAA-58E706B950F6}" destId="{0AECE453-CE2A-473C-BD27-70D00DA5B95C}" srcOrd="0" destOrd="0" presId="urn:microsoft.com/office/officeart/2005/8/layout/chevron1"/>
    <dgm:cxn modelId="{7B5A3DBD-1657-4473-94E8-01CE1BBB5123}" type="presOf" srcId="{EB61DA86-9B86-4759-822E-DA32F7AA073E}" destId="{135DB1F4-89C2-4733-9521-42FD5CECF10C}" srcOrd="0" destOrd="0" presId="urn:microsoft.com/office/officeart/2005/8/layout/chevron1"/>
    <dgm:cxn modelId="{979BF138-CD81-429E-BC11-65E2BCF3173C}" type="presOf" srcId="{D14807FD-294C-4482-91EE-34C09B13669A}" destId="{BCE275B7-D1E9-4183-BABE-507E54E1C931}" srcOrd="0" destOrd="0" presId="urn:microsoft.com/office/officeart/2005/8/layout/chevron1"/>
    <dgm:cxn modelId="{97EC5132-4630-48E3-8216-3BA8EAFC1866}" type="presParOf" srcId="{0AECE453-CE2A-473C-BD27-70D00DA5B95C}" destId="{135DB1F4-89C2-4733-9521-42FD5CECF10C}" srcOrd="0" destOrd="0" presId="urn:microsoft.com/office/officeart/2005/8/layout/chevron1"/>
    <dgm:cxn modelId="{E3836271-EB47-4562-8F56-00B9D61F4074}" type="presParOf" srcId="{0AECE453-CE2A-473C-BD27-70D00DA5B95C}" destId="{E1C76734-9ABE-473C-AD4C-C4BF49F91E97}" srcOrd="1" destOrd="0" presId="urn:microsoft.com/office/officeart/2005/8/layout/chevron1"/>
    <dgm:cxn modelId="{A1672E79-D2DE-4FB9-B482-45377EDA0C13}" type="presParOf" srcId="{0AECE453-CE2A-473C-BD27-70D00DA5B95C}" destId="{6BF66C9A-92D4-481D-A538-FD1A4E3DC0D5}" srcOrd="2" destOrd="0" presId="urn:microsoft.com/office/officeart/2005/8/layout/chevron1"/>
    <dgm:cxn modelId="{6B846050-A43D-42E6-98B8-F09F770B3EC5}" type="presParOf" srcId="{0AECE453-CE2A-473C-BD27-70D00DA5B95C}" destId="{691CB221-7DD5-49BE-AC21-301798066F30}" srcOrd="3" destOrd="0" presId="urn:microsoft.com/office/officeart/2005/8/layout/chevron1"/>
    <dgm:cxn modelId="{14FBF203-E182-4DC3-8F37-46A3A2EAF3D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739BD87-E993-49B9-8398-DBB23C4BC4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1BAB718-6316-4A0A-8D0F-6A7D24196C6B}" type="presOf" srcId="{EB61DA86-9B86-4759-822E-DA32F7AA073E}" destId="{135DB1F4-89C2-4733-9521-42FD5CECF10C}" srcOrd="0" destOrd="0" presId="urn:microsoft.com/office/officeart/2005/8/layout/chevron1"/>
    <dgm:cxn modelId="{F5F8A065-BD08-4CD6-84EC-56C63C074473}" type="presOf" srcId="{F351D095-D2C1-4F62-A18D-EFB4BA6E2AA9}" destId="{6BF66C9A-92D4-481D-A538-FD1A4E3DC0D5}" srcOrd="0" destOrd="0" presId="urn:microsoft.com/office/officeart/2005/8/layout/chevron1"/>
    <dgm:cxn modelId="{CE66527F-4565-4E73-A10F-7F8993C11D64}" type="presOf" srcId="{D14807FD-294C-4482-91EE-34C09B13669A}" destId="{BCE275B7-D1E9-4183-BABE-507E54E1C931}" srcOrd="0" destOrd="0" presId="urn:microsoft.com/office/officeart/2005/8/layout/chevron1"/>
    <dgm:cxn modelId="{4CE4B516-C657-4B5A-B876-C382E59B5918}" type="presParOf" srcId="{0AECE453-CE2A-473C-BD27-70D00DA5B95C}" destId="{135DB1F4-89C2-4733-9521-42FD5CECF10C}" srcOrd="0" destOrd="0" presId="urn:microsoft.com/office/officeart/2005/8/layout/chevron1"/>
    <dgm:cxn modelId="{BD3A0C2F-1886-47B1-86C0-9226524D6999}" type="presParOf" srcId="{0AECE453-CE2A-473C-BD27-70D00DA5B95C}" destId="{E1C76734-9ABE-473C-AD4C-C4BF49F91E97}" srcOrd="1" destOrd="0" presId="urn:microsoft.com/office/officeart/2005/8/layout/chevron1"/>
    <dgm:cxn modelId="{2FBD0833-1CF5-4FFB-A3FC-A1B8D970C49E}" type="presParOf" srcId="{0AECE453-CE2A-473C-BD27-70D00DA5B95C}" destId="{6BF66C9A-92D4-481D-A538-FD1A4E3DC0D5}" srcOrd="2" destOrd="0" presId="urn:microsoft.com/office/officeart/2005/8/layout/chevron1"/>
    <dgm:cxn modelId="{EED5E8B9-3E9A-4D2F-8F95-F83028EBCB62}" type="presParOf" srcId="{0AECE453-CE2A-473C-BD27-70D00DA5B95C}" destId="{691CB221-7DD5-49BE-AC21-301798066F30}" srcOrd="3" destOrd="0" presId="urn:microsoft.com/office/officeart/2005/8/layout/chevron1"/>
    <dgm:cxn modelId="{1D5078DA-80C8-43A2-89E7-BF8F197BF671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F336D2-2A06-4215-BC14-B61D11858E22}" type="presOf" srcId="{EB61DA86-9B86-4759-822E-DA32F7AA073E}" destId="{135DB1F4-89C2-4733-9521-42FD5CECF10C}" srcOrd="0" destOrd="0" presId="urn:microsoft.com/office/officeart/2005/8/layout/chevron1"/>
    <dgm:cxn modelId="{C861EACC-096C-4487-982B-7E624DBA67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F6E3C397-BC8D-4D59-BF11-91E3118A243C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C15C2D4C-2BFB-4341-B556-95EAE671BDB7}" type="presOf" srcId="{F351D095-D2C1-4F62-A18D-EFB4BA6E2AA9}" destId="{6BF66C9A-92D4-481D-A538-FD1A4E3DC0D5}" srcOrd="0" destOrd="0" presId="urn:microsoft.com/office/officeart/2005/8/layout/chevron1"/>
    <dgm:cxn modelId="{84DF0FB5-74E2-41E8-BB3B-41B4626C0248}" type="presParOf" srcId="{0AECE453-CE2A-473C-BD27-70D00DA5B95C}" destId="{135DB1F4-89C2-4733-9521-42FD5CECF10C}" srcOrd="0" destOrd="0" presId="urn:microsoft.com/office/officeart/2005/8/layout/chevron1"/>
    <dgm:cxn modelId="{2F5C50DE-8D7D-4B02-BCA5-94163BB9D36C}" type="presParOf" srcId="{0AECE453-CE2A-473C-BD27-70D00DA5B95C}" destId="{E1C76734-9ABE-473C-AD4C-C4BF49F91E97}" srcOrd="1" destOrd="0" presId="urn:microsoft.com/office/officeart/2005/8/layout/chevron1"/>
    <dgm:cxn modelId="{C8D8A29D-46D9-4C3E-B950-062587F47C99}" type="presParOf" srcId="{0AECE453-CE2A-473C-BD27-70D00DA5B95C}" destId="{6BF66C9A-92D4-481D-A538-FD1A4E3DC0D5}" srcOrd="2" destOrd="0" presId="urn:microsoft.com/office/officeart/2005/8/layout/chevron1"/>
    <dgm:cxn modelId="{14D8AB0B-D51E-49B9-B4B8-4A9120DE8EDA}" type="presParOf" srcId="{0AECE453-CE2A-473C-BD27-70D00DA5B95C}" destId="{691CB221-7DD5-49BE-AC21-301798066F30}" srcOrd="3" destOrd="0" presId="urn:microsoft.com/office/officeart/2005/8/layout/chevron1"/>
    <dgm:cxn modelId="{786FBDC5-B93E-4D1B-8C23-37A359D3FE4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13" Type="http://schemas.openxmlformats.org/officeDocument/2006/relationships/diagramQuickStyle" Target="../diagrams/quickStyle16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12" Type="http://schemas.openxmlformats.org/officeDocument/2006/relationships/diagramLayout" Target="../diagrams/layout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11" Type="http://schemas.openxmlformats.org/officeDocument/2006/relationships/diagramData" Target="../diagrams/data16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16.xml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Relationship Id="rId14" Type="http://schemas.openxmlformats.org/officeDocument/2006/relationships/diagramColors" Target="../diagrams/colors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0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0.xml"/><Relationship Id="rId5" Type="http://schemas.openxmlformats.org/officeDocument/2006/relationships/image" Target="../media/image21.jpeg"/><Relationship Id="rId15" Type="http://schemas.microsoft.com/office/2007/relationships/diagramDrawing" Target="../diagrams/drawing10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5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</a:t>
            </a:r>
            <a:endParaRPr lang="de-DE" sz="1600" dirty="0" smtClean="0">
              <a:latin typeface="Arial" pitchFamily="34" charset="0"/>
              <a:cs typeface="Arial" pitchFamily="34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sz="1600" dirty="0" smtClean="0">
                <a:latin typeface="Arial" pitchFamily="34" charset="0"/>
                <a:cs typeface="Arial" pitchFamily="34" charset="0"/>
              </a:rPr>
              <a:t>security </a:t>
            </a:r>
            <a:r>
              <a:rPr lang="de-DE" sz="1600" dirty="0" smtClean="0">
                <a:latin typeface="Arial" pitchFamily="34" charset="0"/>
                <a:cs typeface="Arial" pitchFamily="34" charset="0"/>
              </a:rPr>
              <a:t>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54101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23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4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3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3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31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3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36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38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9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0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1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45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0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6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7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6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6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What?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A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That‘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how it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work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8</Words>
  <Application>Microsoft Office PowerPoint</Application>
  <PresentationFormat>Bildschirmpräsentation (16:9)</PresentationFormat>
  <Paragraphs>289</Paragraphs>
  <Slides>17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  <vt:lpstr>Folie 17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71</cp:revision>
  <cp:lastPrinted>2012-09-04T09:22:48Z</cp:lastPrinted>
  <dcterms:created xsi:type="dcterms:W3CDTF">2016-04-21T06:54:03Z</dcterms:created>
  <dcterms:modified xsi:type="dcterms:W3CDTF">2016-10-17T09:5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